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4848" r:id="rId6"/>
    <p:sldId id="2147375597" r:id="rId7"/>
    <p:sldId id="2147375600" r:id="rId8"/>
    <p:sldId id="2147375605" r:id="rId9"/>
    <p:sldId id="2147375601" r:id="rId10"/>
    <p:sldId id="2147375602" r:id="rId11"/>
    <p:sldId id="2147375606" r:id="rId12"/>
    <p:sldId id="2147375603" r:id="rId13"/>
    <p:sldId id="2147375607" r:id="rId14"/>
    <p:sldId id="1633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79" d="100"/>
          <a:sy n="79" d="100"/>
        </p:scale>
        <p:origin x="773" y="77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5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2 (30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6</a:t>
            </a:r>
            <a:r>
              <a:rPr lang="en-US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1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Velocity Charts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These charts track the amount of work a team completes in a sprint (measured in story points), helping predict how much work can be done in future sprints.</a:t>
            </a:r>
          </a:p>
          <a:p>
            <a:pPr marL="800100" lvl="1" indent="-34290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If a team consistently completes around 20 story points per sprint, that becomes their velocity.</a:t>
            </a:r>
          </a:p>
          <a:p>
            <a:pPr marL="804672" indent="-347472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endParaRPr lang="en-US" sz="1400" dirty="0">
              <a:effectLst/>
            </a:endParaRPr>
          </a:p>
        </p:txBody>
      </p:sp>
      <p:pic>
        <p:nvPicPr>
          <p:cNvPr id="8196" name="Picture 4" descr="Velocity charts – an example - Hands-On Agile Software Development with  JIRA [Book]">
            <a:extLst>
              <a:ext uri="{FF2B5EF4-FFF2-40B4-BE49-F238E27FC236}">
                <a16:creationId xmlns:a16="http://schemas.microsoft.com/office/drawing/2014/main" id="{24ADB8FF-39AC-8DF3-50C3-B81A3E5B66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68"/>
          <a:stretch/>
        </p:blipFill>
        <p:spPr bwMode="auto">
          <a:xfrm>
            <a:off x="3272775" y="3196057"/>
            <a:ext cx="5641827" cy="264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6491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pic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large body of work that can be broken down into multiple smaller stories. An Epic usually takes multiple sprints to complete.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Developing a new feature like "User Authentication" for an application, which may include several stories like "Login Page," "Sign Up," and "Password Reset."</a:t>
            </a:r>
          </a:p>
          <a:p>
            <a:pPr marL="0" marR="0" algn="just"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tory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user requirement that is detailed enough to be estimated and implemented in a sprint. It often follows the format: "As a [type of user], I want [an action] so that [a benefit]."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"As a user, I want to reset my password so that I can regain access to my account if I forget my password."</a:t>
            </a:r>
          </a:p>
          <a:p>
            <a:pPr marL="0" marR="0" algn="just"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Task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specific piece of work that developers and testers break down from a story to estimate, develop, and test. Tasks are the actionable items in a sprint.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"Design the reset password page UI" or "Implement password reset functionality."</a:t>
            </a:r>
          </a:p>
          <a:p>
            <a:pPr marL="0" marR="0" algn="just"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ub-Task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Smaller portions of a parent task, each assigned and tracked individually. Sub-tasks help distribute the workload among team members.</a:t>
            </a:r>
          </a:p>
          <a:p>
            <a:pPr marL="800100" lvl="1" indent="-342900" algn="just"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"Create a front-end form for password reset" under the task "Implement password reset functionality."</a:t>
            </a:r>
          </a:p>
        </p:txBody>
      </p:sp>
      <p:pic>
        <p:nvPicPr>
          <p:cNvPr id="5" name="Picture 4" descr="Epics, Stories, Tasks, Subtasks… what's the difference | Last Call Media">
            <a:extLst>
              <a:ext uri="{FF2B5EF4-FFF2-40B4-BE49-F238E27FC236}">
                <a16:creationId xmlns:a16="http://schemas.microsoft.com/office/drawing/2014/main" id="{09A12869-6957-194B-7206-BE1515800D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4" t="23397" r="8382" b="24762"/>
          <a:stretch/>
        </p:blipFill>
        <p:spPr bwMode="auto">
          <a:xfrm>
            <a:off x="7063693" y="4212038"/>
            <a:ext cx="4473532" cy="157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nabler Story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upports activities necessary for future functionality, extending the architectural runway.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etting up a continuous integration pipeline.</a:t>
            </a:r>
          </a:p>
          <a:p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pike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time-boxed task for research or problem-solving to reduce risks or unknowns.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Researching how to integrate OAuth 2.0 for authentication.</a:t>
            </a:r>
          </a:p>
          <a:p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tory Pointing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Measures effort using story points, considering complexity, amount, and uncertainty. Often uses Fibonacci sequence.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login button might be 1 point; integrating third-party authentication could be 8 points.</a:t>
            </a:r>
          </a:p>
          <a:p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 of Ready (</a:t>
            </a:r>
            <a:r>
              <a:rPr lang="en-US" sz="1400" b="1" dirty="0" err="1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oR</a:t>
            </a: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)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checklist that ensures a story is well-defined and actionable before being picked up for a sprint.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cceptance criteria are defined, and dependencies are identified.</a:t>
            </a:r>
          </a:p>
          <a:p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 of Done (DoD)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set of criteria a story must meet to be considered complete, ensuring all aspects are finished.</a:t>
            </a:r>
          </a:p>
          <a:p>
            <a:pPr lvl="1"/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Code is written, tested, reviewed, and deployed to staging.</a:t>
            </a:r>
          </a:p>
        </p:txBody>
      </p:sp>
      <p:pic>
        <p:nvPicPr>
          <p:cNvPr id="2054" name="Picture 6" descr="What Are Story Points and How Do You Use Them?">
            <a:extLst>
              <a:ext uri="{FF2B5EF4-FFF2-40B4-BE49-F238E27FC236}">
                <a16:creationId xmlns:a16="http://schemas.microsoft.com/office/drawing/2014/main" id="{F011E11F-5A7A-F31C-5336-75DE62483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9" t="30703" r="12731" b="23165"/>
          <a:stretch/>
        </p:blipFill>
        <p:spPr bwMode="auto">
          <a:xfrm>
            <a:off x="7169285" y="4053950"/>
            <a:ext cx="3788213" cy="181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Scrum Board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visual representation of work to be done, in progress, and completed within a single sprint. It's used to track the status of stories, tasks, and sub-task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Columns on the board might include "To Do," "In Progress," "In Review," and "Done."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gile Workflow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The process flow followed in Agile, typically involving stages like "Backlog," "In Development," "In Testing," and "Done." It ensures that work progresses smoothly through the sprint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story moves from the backlog to "In Development," then to "In Testing," and finally to "Done" as it passes each stage of the workflow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gile Product Roadmap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high-level strategic plan that outlines the development and release timeline of the product. It aligns the team's work with business objective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"Q1: Implement user authentication; Q2: Develop shopping cart; Q3: Launch MVP."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Time Estimation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The process of predicting the amount of time needed to complete a task, story, or epic. Estimation is crucial for planning sprints and release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stimating that "Implement password reset" will take 3 days to complete.</a:t>
            </a:r>
          </a:p>
        </p:txBody>
      </p:sp>
    </p:spTree>
    <p:extLst>
      <p:ext uri="{BB962C8B-B14F-4D97-AF65-F5344CB8AC3E}">
        <p14:creationId xmlns:p14="http://schemas.microsoft.com/office/powerpoint/2010/main" val="2728443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4800A2-EB7D-84B2-B183-065915C89C0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6755" t="4463" r="6637" b="4549"/>
          <a:stretch/>
        </p:blipFill>
        <p:spPr>
          <a:xfrm>
            <a:off x="2277250" y="1835322"/>
            <a:ext cx="7637500" cy="4413035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5D0F5799-D4A3-72E0-1448-72F6C6C73630}"/>
              </a:ext>
            </a:extLst>
          </p:cNvPr>
          <p:cNvSpPr txBox="1">
            <a:spLocks/>
          </p:cNvSpPr>
          <p:nvPr/>
        </p:nvSpPr>
        <p:spPr>
          <a:xfrm>
            <a:off x="753519" y="1284525"/>
            <a:ext cx="10684963" cy="66010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crum Board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78967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 spcCol="27432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Logging Work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The practice of recording the time spent on tasks or stories in a sprint. This helps in tracking progress and adjusting future estimations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Logging 5 hours spent on "Creating the reset password UI."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Kanban Board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A visual tool used in Kanban methodology to manage workflow and improve efficiency. It helps teams visualize their work, limit work in progress, and maximize flow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Why Use It?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Kanban boards are flexible and can be used for continuous delivery, making them suitable for teams that prioritize work on a rolling basis rather than fixed sprints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Fibonacci Numbers in Estimation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Definition: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 Fibonacci numbers are used in Agile estimation because the sequence grows in a non-linear way, reflecting the increasing uncertainty and complexity as work becomes more extensive.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400" b="1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Example: </a:t>
            </a:r>
            <a:r>
              <a:rPr lang="en-US" sz="1400" dirty="0">
                <a:solidFill>
                  <a:srgbClr val="111111"/>
                </a:solidFill>
                <a:highlight>
                  <a:srgbClr val="F7F7F7"/>
                </a:highlight>
                <a:latin typeface="-apple-system"/>
              </a:rPr>
              <a:t>A task that is slightly more complex than a 3-point story might be estimated as a 5-point story, and something even more complex might be an 8 or 13-point story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365903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pic>
        <p:nvPicPr>
          <p:cNvPr id="5124" name="Picture 4" descr="Kanban vs. Scrum. Who wore it best? - BigPicture">
            <a:extLst>
              <a:ext uri="{FF2B5EF4-FFF2-40B4-BE49-F238E27FC236}">
                <a16:creationId xmlns:a16="http://schemas.microsoft.com/office/drawing/2014/main" id="{8C1CCBFA-A91A-6690-A2DD-A7669DEA4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5595" y="1608618"/>
            <a:ext cx="7756187" cy="436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6337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5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numCol="2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400" b="1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Burn-Up vs. Burndown Charts</a:t>
            </a:r>
            <a:endParaRPr lang="en-US" sz="1400" dirty="0">
              <a:effectLst/>
            </a:endParaRPr>
          </a:p>
          <a:p>
            <a:pPr marL="804672" indent="-347472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Definition:</a:t>
            </a:r>
            <a:endParaRPr lang="en-US" sz="1400" dirty="0">
              <a:effectLst/>
            </a:endParaRPr>
          </a:p>
          <a:p>
            <a:pPr marL="1197864" indent="-283464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b="1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Burn-Up Chart: </a:t>
            </a:r>
            <a:r>
              <a:rPr lang="en-US" sz="1400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Shows progress toward a goal by plotting completed work against the total scope, allowing teams to see how close they are to achieving the sprint or release goal.</a:t>
            </a:r>
            <a:endParaRPr lang="en-US" sz="1400" dirty="0">
              <a:effectLst/>
            </a:endParaRPr>
          </a:p>
          <a:p>
            <a:pPr marL="1197864" indent="-283464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1400" b="1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Burndown Chart: </a:t>
            </a:r>
            <a:r>
              <a:rPr lang="en-US" sz="1400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Plots remaining work against time, showing how much work is left to complete within the sprint or project timeline.</a:t>
            </a:r>
            <a:endParaRPr lang="en-US" sz="1400" dirty="0">
              <a:effectLst/>
            </a:endParaRPr>
          </a:p>
          <a:p>
            <a:pPr marL="804672" indent="-347472" algn="just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tabLst>
                <a:tab pos="457200" algn="l"/>
              </a:tabLst>
            </a:pPr>
            <a:r>
              <a:rPr lang="en-US" sz="1400" b="1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Example:</a:t>
            </a:r>
            <a:r>
              <a:rPr lang="en-US" sz="1400" kern="120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  <a:ea typeface="+mn-ea"/>
                <a:cs typeface="+mn-cs"/>
              </a:rPr>
              <a:t> A burn-up chart might show a steady increase in completed story points, while a burndown chart might show the remaining story points decreasing over time.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</a:pPr>
            <a:endParaRPr lang="en-US" sz="1400" b="1" dirty="0">
              <a:solidFill>
                <a:srgbClr val="111111"/>
              </a:solidFill>
              <a:highlight>
                <a:srgbClr val="F7F7F7"/>
              </a:highlight>
              <a:latin typeface="-apple-system"/>
            </a:endParaRPr>
          </a:p>
        </p:txBody>
      </p:sp>
      <p:pic>
        <p:nvPicPr>
          <p:cNvPr id="8194" name="Picture 2" descr="How To Elevate Your Agile Processes with Burndown Charts">
            <a:extLst>
              <a:ext uri="{FF2B5EF4-FFF2-40B4-BE49-F238E27FC236}">
                <a16:creationId xmlns:a16="http://schemas.microsoft.com/office/drawing/2014/main" id="{AA3A0770-F004-34E5-8ABA-FE75B1A9C6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47" y="2072850"/>
            <a:ext cx="5171876" cy="3652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5977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08</TotalTime>
  <Words>1036</Words>
  <Application>Microsoft Office PowerPoint</Application>
  <PresentationFormat>Widescreen</PresentationFormat>
  <Paragraphs>7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-apple-system</vt:lpstr>
      <vt:lpstr>Arial</vt:lpstr>
      <vt:lpstr>Calibri</vt:lpstr>
      <vt:lpstr>Symbol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Learning 3 | My takeaways</vt:lpstr>
      <vt:lpstr>Learning 3 | My takeaways</vt:lpstr>
      <vt:lpstr>Learning 4 | My takeaways</vt:lpstr>
      <vt:lpstr>Learning 4 | My takeaways</vt:lpstr>
      <vt:lpstr>Learning 5 | My takeaways</vt:lpstr>
      <vt:lpstr>Learning 6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25</cp:revision>
  <dcterms:created xsi:type="dcterms:W3CDTF">2022-01-18T12:35:56Z</dcterms:created>
  <dcterms:modified xsi:type="dcterms:W3CDTF">2024-09-05T18:4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